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8"/>
  </p:notesMasterIdLst>
  <p:handoutMasterIdLst>
    <p:handoutMasterId r:id="rId99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320" r:id="rId51"/>
    <p:sldId id="323" r:id="rId52"/>
    <p:sldId id="324" r:id="rId53"/>
    <p:sldId id="325" r:id="rId54"/>
    <p:sldId id="327" r:id="rId55"/>
    <p:sldId id="328" r:id="rId56"/>
    <p:sldId id="394" r:id="rId57"/>
    <p:sldId id="329" r:id="rId58"/>
    <p:sldId id="368" r:id="rId59"/>
    <p:sldId id="408" r:id="rId60"/>
    <p:sldId id="409" r:id="rId61"/>
    <p:sldId id="410" r:id="rId62"/>
    <p:sldId id="411" r:id="rId63"/>
    <p:sldId id="412" r:id="rId64"/>
    <p:sldId id="413" r:id="rId65"/>
    <p:sldId id="414" r:id="rId66"/>
    <p:sldId id="395" r:id="rId67"/>
    <p:sldId id="396" r:id="rId68"/>
    <p:sldId id="375" r:id="rId69"/>
    <p:sldId id="398" r:id="rId70"/>
    <p:sldId id="397" r:id="rId71"/>
    <p:sldId id="359" r:id="rId72"/>
    <p:sldId id="360" r:id="rId73"/>
    <p:sldId id="376" r:id="rId74"/>
    <p:sldId id="343" r:id="rId75"/>
    <p:sldId id="344" r:id="rId76"/>
    <p:sldId id="345" r:id="rId77"/>
    <p:sldId id="361" r:id="rId78"/>
    <p:sldId id="347" r:id="rId79"/>
    <p:sldId id="348" r:id="rId80"/>
    <p:sldId id="362" r:id="rId81"/>
    <p:sldId id="352" r:id="rId82"/>
    <p:sldId id="353" r:id="rId83"/>
    <p:sldId id="354" r:id="rId84"/>
    <p:sldId id="363" r:id="rId85"/>
    <p:sldId id="364" r:id="rId86"/>
    <p:sldId id="377" r:id="rId87"/>
    <p:sldId id="350" r:id="rId88"/>
    <p:sldId id="355" r:id="rId89"/>
    <p:sldId id="349" r:id="rId90"/>
    <p:sldId id="357" r:id="rId91"/>
    <p:sldId id="358" r:id="rId92"/>
    <p:sldId id="406" r:id="rId93"/>
    <p:sldId id="407" r:id="rId94"/>
    <p:sldId id="380" r:id="rId95"/>
    <p:sldId id="392" r:id="rId96"/>
    <p:sldId id="299" r:id="rId97"/>
  </p:sldIdLst>
  <p:sldSz cx="9144000" cy="6858000" type="screen4x3"/>
  <p:notesSz cx="7023100" cy="9309100"/>
  <p:custDataLst>
    <p:tags r:id="rId100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798" y="10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tags" Target="tags/tag1.xml"/><Relationship Id="rId105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handoutMaster" Target="handoutMasters/handoutMaster1.xml"/><Relationship Id="rId10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91.png"/><Relationship Id="rId4" Type="http://schemas.openxmlformats.org/officeDocument/2006/relationships/notesSlide" Target="../notesSlides/notesSlide4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92.png"/><Relationship Id="rId4" Type="http://schemas.openxmlformats.org/officeDocument/2006/relationships/notesSlide" Target="../notesSlides/notesSlide4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94.png"/><Relationship Id="rId4" Type="http://schemas.openxmlformats.org/officeDocument/2006/relationships/notesSlide" Target="../notesSlides/notesSlide4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95.png"/><Relationship Id="rId4" Type="http://schemas.openxmlformats.org/officeDocument/2006/relationships/notesSlide" Target="../notesSlides/notesSlide4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96.png"/><Relationship Id="rId4" Type="http://schemas.openxmlformats.org/officeDocument/2006/relationships/notesSlide" Target="../notesSlides/notesSlide5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98.png"/><Relationship Id="rId4" Type="http://schemas.openxmlformats.org/officeDocument/2006/relationships/notesSlide" Target="../notesSlides/notesSlide5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99.png"/><Relationship Id="rId4" Type="http://schemas.openxmlformats.org/officeDocument/2006/relationships/notesSlide" Target="../notesSlides/notesSlide5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jpeg"/><Relationship Id="rId4" Type="http://schemas.openxmlformats.org/officeDocument/2006/relationships/image" Target="../media/image10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</a:t>
            </a:r>
            <a:r>
              <a:rPr lang="en-US" sz="1600" dirty="0"/>
              <a:t>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666</TotalTime>
  <Words>3640</Words>
  <Application>Microsoft Office PowerPoint</Application>
  <PresentationFormat>On-screen Show (4:3)</PresentationFormat>
  <Paragraphs>1172</Paragraphs>
  <Slides>91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1</vt:i4>
      </vt:variant>
    </vt:vector>
  </HeadingPairs>
  <TitlesOfParts>
    <vt:vector size="106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79</cp:revision>
  <cp:lastPrinted>2015-07-29T21:30:37Z</cp:lastPrinted>
  <dcterms:created xsi:type="dcterms:W3CDTF">2017-09-21T08:49:16Z</dcterms:created>
  <dcterms:modified xsi:type="dcterms:W3CDTF">2019-02-07T11:41:0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